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3"/>
  </p:notesMasterIdLst>
  <p:handoutMasterIdLst>
    <p:handoutMasterId r:id="rId14"/>
  </p:handoutMasterIdLst>
  <p:sldIdLst>
    <p:sldId id="256" r:id="rId6"/>
    <p:sldId id="693" r:id="rId7"/>
    <p:sldId id="697" r:id="rId8"/>
    <p:sldId id="699" r:id="rId9"/>
    <p:sldId id="695" r:id="rId10"/>
    <p:sldId id="700" r:id="rId11"/>
    <p:sldId id="698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97"/>
            <p14:sldId id="699"/>
            <p14:sldId id="695"/>
            <p14:sldId id="700"/>
            <p14:sldId id="69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9-Jul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9-Jul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442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7229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5510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9-Jul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9/07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9-Jul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5.x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6180353"/>
            <a:ext cx="12193443" cy="569387"/>
          </a:xfrm>
        </p:spPr>
        <p:txBody>
          <a:bodyPr/>
          <a:lstStyle/>
          <a:p>
            <a:r>
              <a:rPr lang="en-US" sz="4000" dirty="0">
                <a:solidFill>
                  <a:srgbClr val="0070C0"/>
                </a:solidFill>
              </a:rPr>
              <a:t>Making decisions in Python</a:t>
            </a:r>
            <a:endParaRPr lang="en-GB" sz="4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882259"/>
            <a:ext cx="11593145" cy="2481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br>
              <a:rPr lang="en-US" sz="2400" dirty="0"/>
            </a:br>
            <a:endParaRPr lang="en-US" sz="2400" dirty="0"/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/>
              <a:t>Programming languages provide various control structures that allow for more complicated execution paths.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Conditional Statements in Python</a:t>
            </a:r>
          </a:p>
        </p:txBody>
      </p:sp>
    </p:spTree>
    <p:extLst>
      <p:ext uri="{BB962C8B-B14F-4D97-AF65-F5344CB8AC3E}">
        <p14:creationId xmlns:p14="http://schemas.microsoft.com/office/powerpoint/2010/main" val="68637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960745"/>
            <a:ext cx="11593145" cy="2936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re are two types of loops in Python</a:t>
            </a:r>
          </a:p>
          <a:p>
            <a:pPr marL="342900" marR="0" lvl="0" indent="-342900">
              <a:lnSpc>
                <a:spcPct val="115000"/>
              </a:lnSpc>
              <a:spcBef>
                <a:spcPts val="180"/>
              </a:spcBef>
              <a:spcAft>
                <a:spcPts val="18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loop	and</a:t>
            </a:r>
          </a:p>
          <a:p>
            <a:pPr marL="342900" marR="0" lvl="0" indent="-342900">
              <a:lnSpc>
                <a:spcPct val="115000"/>
              </a:lnSpc>
              <a:spcBef>
                <a:spcPts val="180"/>
              </a:spcBef>
              <a:spcAft>
                <a:spcPts val="120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hile</a:t>
            </a:r>
            <a:r>
              <a:rPr lang="en-US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loop</a:t>
            </a:r>
          </a:p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3600" dirty="0">
              <a:latin typeface="+mj-lt"/>
            </a:endParaRP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Types of loop</a:t>
            </a:r>
          </a:p>
        </p:txBody>
      </p:sp>
    </p:spTree>
    <p:extLst>
      <p:ext uri="{BB962C8B-B14F-4D97-AF65-F5344CB8AC3E}">
        <p14:creationId xmlns:p14="http://schemas.microsoft.com/office/powerpoint/2010/main" val="34624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24658" y="1215990"/>
            <a:ext cx="11130455" cy="45440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 for loop is used to iterate over a sequence of object such as list, tuple, set, string or a dictionary.</a:t>
            </a:r>
          </a:p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GB" sz="2400" b="1" dirty="0">
                <a:solidFill>
                  <a:srgbClr val="833C0B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or loop syntax </a:t>
            </a:r>
          </a:p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endParaRPr lang="en-US" sz="2000" b="1" dirty="0">
              <a:solidFill>
                <a:srgbClr val="833C0B"/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atinLnBrk="1">
              <a:spcBef>
                <a:spcPts val="0"/>
              </a:spcBef>
              <a:spcAft>
                <a:spcPts val="1000"/>
              </a:spcAft>
            </a:pP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for </a:t>
            </a:r>
            <a:r>
              <a:rPr lang="en-US" sz="2400" i="0" dirty="0">
                <a:solidFill>
                  <a:srgbClr val="5B9BD5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item</a:t>
            </a: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in object: </a:t>
            </a:r>
            <a:endParaRPr lang="en-US" sz="2400" i="1" dirty="0">
              <a:effectLst/>
              <a:latin typeface="+mj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0" marR="0" latinLnBrk="1">
              <a:spcBef>
                <a:spcPts val="0"/>
              </a:spcBef>
              <a:spcAft>
                <a:spcPts val="1000"/>
              </a:spcAft>
            </a:pP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   statements to do </a:t>
            </a:r>
            <a:endParaRPr lang="en-US" sz="2400" i="1" dirty="0">
              <a:effectLst/>
              <a:latin typeface="+mj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 naming of the </a:t>
            </a:r>
            <a:r>
              <a:rPr lang="en-US" sz="2400" b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tem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is completely up to you, so use your best judgment for choosing a name that makes sense and you will be able to understand when revisiting your cod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6093372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The for loop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DF03D8B-4966-4603-9989-D934DF46D954}"/>
              </a:ext>
            </a:extLst>
          </p:cNvPr>
          <p:cNvSpPr txBox="1"/>
          <p:nvPr/>
        </p:nvSpPr>
        <p:spPr>
          <a:xfrm>
            <a:off x="224658" y="1215990"/>
            <a:ext cx="11130455" cy="53508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 while loop will repeatedly execute a single statement or group of statements as long as the condition being checked is </a:t>
            </a:r>
            <a:r>
              <a:rPr 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 The reason it is called a ‘while loop’ is because the code statements are looped through over and over again until the condition is no longer </a:t>
            </a:r>
            <a:r>
              <a:rPr 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en-US" sz="24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b="1" dirty="0">
                <a:solidFill>
                  <a:srgbClr val="5B9BD5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yntax of while Loop</a:t>
            </a:r>
            <a:endParaRPr lang="en-US" sz="24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just" latinLnBrk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while </a:t>
            </a:r>
            <a:r>
              <a:rPr lang="en-US" sz="2400" i="0" dirty="0" err="1">
                <a:solidFill>
                  <a:srgbClr val="5B9BD5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test_expression</a:t>
            </a: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: </a:t>
            </a:r>
          </a:p>
          <a:p>
            <a:pPr marL="0" marR="0" algn="just" latinLnBrk="1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400" dirty="0">
                <a:solidFill>
                  <a:srgbClr val="000000"/>
                </a:solidFill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     </a:t>
            </a:r>
            <a:r>
              <a:rPr lang="en-US" sz="2400" i="0" dirty="0">
                <a:solidFill>
                  <a:srgbClr val="000000"/>
                </a:solidFill>
                <a:effectLst/>
                <a:latin typeface="+mj-lt"/>
                <a:ea typeface="Cambria" panose="02040503050406030204" pitchFamily="18" charset="0"/>
                <a:cs typeface="Times New Roman" panose="02020603050405020304" pitchFamily="18" charset="0"/>
              </a:rPr>
              <a:t>Body of while</a:t>
            </a:r>
            <a:endParaRPr lang="en-US" sz="2400" i="1" dirty="0">
              <a:effectLst/>
              <a:latin typeface="+mj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0" marR="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endParaRPr lang="en-US" sz="32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D019E-94F4-48B5-BC8B-54FC191EC4DD}"/>
              </a:ext>
            </a:extLst>
          </p:cNvPr>
          <p:cNvSpPr txBox="1"/>
          <p:nvPr/>
        </p:nvSpPr>
        <p:spPr>
          <a:xfrm>
            <a:off x="224658" y="153819"/>
            <a:ext cx="6093372" cy="1343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The while loop</a:t>
            </a:r>
          </a:p>
          <a:p>
            <a:pPr marL="0" marR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endParaRPr lang="en-US" sz="2800" b="1" dirty="0">
              <a:solidFill>
                <a:srgbClr val="2E74B5"/>
              </a:solidFill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86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134" y="970667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314692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99</TotalTime>
  <Words>191</Words>
  <Application>Microsoft Office PowerPoint</Application>
  <PresentationFormat>Widescreen</PresentationFormat>
  <Paragraphs>22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Gotham Light</vt:lpstr>
      <vt:lpstr>Lato Light</vt:lpstr>
      <vt:lpstr>Symbol</vt:lpstr>
      <vt:lpstr>1_Office Theme</vt:lpstr>
      <vt:lpstr>2_Office Theme</vt:lpstr>
      <vt:lpstr>think-cell Slide</vt:lpstr>
      <vt:lpstr>Introduction to Programming in Python</vt:lpstr>
      <vt:lpstr>Making decisions in Pyth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48</cp:revision>
  <dcterms:created xsi:type="dcterms:W3CDTF">2020-03-16T19:15:12Z</dcterms:created>
  <dcterms:modified xsi:type="dcterms:W3CDTF">2021-07-19T16:4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